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56"/>
    <p:restoredTop sz="75238"/>
  </p:normalViewPr>
  <p:slideViewPr>
    <p:cSldViewPr snapToGrid="0">
      <p:cViewPr varScale="1">
        <p:scale>
          <a:sx n="95" d="100"/>
          <a:sy n="95" d="100"/>
        </p:scale>
        <p:origin x="155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0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4813043"/>
              </p:ext>
            </p:extLst>
          </p:nvPr>
        </p:nvGraphicFramePr>
        <p:xfrm>
          <a:off x="98198" y="717833"/>
          <a:ext cx="8945798" cy="622622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3159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 dirty="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 dirty="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4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6d 5h</a:t>
                      </a:r>
                      <a:br/>
                      <a:r>
                        <a:t> (⬆ - 5d 10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0 / 4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8 / 15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 (58 - 21 - 6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1% - 19.59% - 4.31%</a:t>
                      </a:r>
                      <a:br/>
                      <a:r>
                        <a:t> (⬆ - 1.86% / ⬆ - 1.12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1h</a:t>
                      </a:r>
                      <a:br/>
                      <a:r>
                        <a:t> (⬇ + 3d 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8 / 2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1 (66 - 30 - 15)</a:t>
                      </a:r>
                      <a:br/>
                      <a:r>
                        <a:t> (⬇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9.43% - 23.1% - 7.47%</a:t>
                      </a:r>
                      <a:br/>
                      <a:r>
                        <a:t> (⬇ + 14.22% / ⬇ + 3.94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7h</a:t>
                      </a:r>
                      <a:br/>
                      <a:r>
                        <a:t> (⬆ - 4d 2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0</a:t>
                      </a:r>
                      <a:br/>
                      <a:r>
                        <a:t> (⬇ + 6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6 (20 - 15 - 11)</a:t>
                      </a:r>
                      <a:br/>
                      <a:r>
                        <a:t> (⬆ +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3.1% - 16.93% - 9.97%</a:t>
                      </a:r>
                      <a:br/>
                      <a:r>
                        <a:t> (⬇ + 2.18% / ⬇ + 3.67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pPr algn="ctr"/>
                      <a:endParaRPr lang="es-ES" sz="1200" noProof="1">
                        <a:solidFill>
                          <a:srgbClr val="FFFFFF"/>
                        </a:solidFill>
                        <a:latin typeface="Inter"/>
                      </a:endParaRP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Ticketing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23h 51m</a:t>
                      </a:r>
                      <a:br/>
                      <a:r>
                        <a:t> (⬇ + 23h 51m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 / 1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9 / 1</a:t>
                      </a:r>
                      <a:br/>
                      <a:r>
                        <a:t> (⬇ + 6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5 (34 - 15 - 6)</a:t>
                      </a:r>
                      <a:br/>
                      <a:r>
                        <a:t> (⬆ + 4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6.72% - 9.15% - 4.13%</a:t>
                      </a:r>
                      <a:br/>
                      <a:r>
                        <a:t> (⬇ + 1.26% / ⬇ + 2.45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27789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16h</a:t>
                      </a:r>
                      <a:br/>
                      <a:r>
                        <a:t> (⬆ - 5d 13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/ 1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4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0 (12 - 17 - 1)</a:t>
                      </a:r>
                      <a:br/>
                      <a:r>
                        <a:t> (⬇ - 2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08% - 14.59% - 6.32%</a:t>
                      </a:r>
                      <a:br/>
                      <a:r>
                        <a:t> (⬇ + 10.38% / ⬆ - 12.31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13h</a:t>
                      </a:r>
                      <a:br/>
                      <a:r>
                        <a:t> (⬇ + 2d 17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3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2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2 (39 - 22 - 11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3.04% - 9.52% - 7.44%</a:t>
                      </a:r>
                      <a:br/>
                      <a:r>
                        <a:t> (⬇ + 2.11% / ⬇ + 0.99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8h</a:t>
                      </a:r>
                      <a:br/>
                      <a:r>
                        <a:t> (⬆ - 11d 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3 (14 - 7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04% - 22.88% - 1.08%</a:t>
                      </a:r>
                      <a:br/>
                      <a:r>
                        <a:t> (⬇ + 7.25% / ⬆ - 3.95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2d 10h</a:t>
                      </a:r>
                      <a:br/>
                      <a:r>
                        <a:t> (⬇ + 10d 2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8 (2 - 11 - 5)</a:t>
                      </a:r>
                      <a:br/>
                      <a:r>
                        <a:t> (⬆ +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8.19% - 23.55% - 8.25%</a:t>
                      </a:r>
                      <a:br/>
                      <a:r>
                        <a:t> (⬇ + 20.04% / ⬆ - 7.24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22h</a:t>
                      </a:r>
                      <a:br/>
                      <a:r>
                        <a:t> (⬇ + 5d 9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1 (40 - 9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4.55% - 4.45% - 21.01%</a:t>
                      </a:r>
                      <a:br/>
                      <a:r>
                        <a:t> (⬆ - 4.78% / ⬇ + 14.37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5h</a:t>
                      </a:r>
                      <a:br/>
                      <a:r>
                        <a:t> (⬆ - 1d 9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 / 1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2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4 (12 - 7 - 5)</a:t>
                      </a:r>
                      <a:br/>
                      <a:r>
                        <a:t> (⬇ -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.21% - 22.63% - 2.16%</a:t>
                      </a:r>
                      <a:br/>
                      <a:r>
                        <a:t> (⬇ + 13.04% / ⬆ - 20.1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29601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6633307" y="251817"/>
            <a:ext cx="241974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99692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08845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46267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2624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2536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19300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0715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534</Words>
  <Application>Microsoft Macintosh PowerPoint</Application>
  <PresentationFormat>Widescreen</PresentationFormat>
  <Paragraphs>9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8</cp:revision>
  <dcterms:created xsi:type="dcterms:W3CDTF">2023-10-30T14:38:48Z</dcterms:created>
  <dcterms:modified xsi:type="dcterms:W3CDTF">2023-12-20T15:0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